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240"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1D2C9BF-9DC7-4986-A7DE-0F5C698D4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8932AF8-F00D-454B-A900-F8C12DC99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C8ECCD4-48A7-47BF-9BE8-EA909B377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898FCC1-5917-4924-9872-98F1F64C3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31F5EB6-0C8B-4D0B-8090-AD11F9B39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C1D40C5-14DE-4AF0-84FA-0BC34F7045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2FE79EA-A0B9-4373-8312-DEBFFA53C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F67454B-4F58-42AF-AFDB-B0E24D9BD0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A94B066-A423-48C0-BB43-538B9243C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4C96C3F-0CC8-455B-B638-C2ABCAFB7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CE34CD8-AA06-43A3-B58D-7C8D0B1A6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661CAC0-9FD3-4119-B49D-CA4412EC5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16DDA5F-55E4-4184-8908-4264807AE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A41B351-D132-48F4-984C-2B4DDAC67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E3B66AC-E3A0-4407-B490-276DE4F85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79A0914-F441-4F31-96D6-F404B9AE5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1A2E5D1-EED2-4B37-9A17-C05D5E43A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7056B19-14CC-4D71-9257-23B1394A8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12127CD1-6FA3-4582-8602-2235AF439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9090DB8-CF6A-4E46-86F6-1012029B1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C59411F1-4E8A-44AD-AA2D-FF02ACF81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1EDD327-DD71-47CA-A37E-560184F9D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80D9920-FCF2-4E72-8FE2-E1914D5E7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6FDFC32-9160-4E62-ADFB-8DD48B4A6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03DF319-1676-4006-9E52-0F413B852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81BA28E0-FB71-44C0-8A88-FD40B88B2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DF8328E-0FCE-43CD-B889-A33354634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89484B5-3F37-4B98-A8DD-89307C729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AB1AB986-8A91-4502-B29D-7CECC58C7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B47C0A7-4C12-48D2-B54F-32DFB0E02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E025E8FE-64C2-42CB-84B1-8806151CF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C6180BAD-08C2-43D0-8DA3-C665EB105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575C80E-6D23-4207-A120-3F086C2C5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6B91046-A0FB-478D-85EE-C80C53AE5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9B9BCB0-9355-4D7C-A8D6-F90CB5581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CFB0135-7252-4D7E-ADE2-CC8242F7B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83443B0-8ED1-4D86-92E9-2544327CE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E54F20D-746D-4D9F-BB73-5A4F99610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3855461B-B505-427F-A787-EBA659C1E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71A3A45A-CF23-44AA-AD40-E938C9BC6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58312CA-D279-4690-9EED-3F094FAA8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58C85BCD-27AB-4B55-84DA-A269E0D72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3C69431-2D40-42FC-9D04-DECCAF884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04272DE-025E-45B6-8DEE-8161B4475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FDA0960B-2955-4D4A-A98B-1171ED85C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AF216A3-3EAB-4DAD-8815-E1C966445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12C4D2F5-202C-4E55-ABD2-9FEB0E215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22D5312-2C68-40AE-A986-228366F30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8838266-77F2-4C7B-9DD5-B1C42519B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0856722-C09F-4FDA-A318-2A1FE3B0B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C458202F-F62E-4D15-A240-978CADCF6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256CF97-35EB-4482-9BB4-CCA9A65F8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B27E14AB-86C6-499A-B600-FED52BE10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5B4B861-6AA2-421A-9780-F41996806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CA5613F-43A7-470A-AD61-D1F193FB7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285956BB-1846-4DF3-84D4-84C63A064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1413FBA-E9BB-4563-80C8-75361396F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A135EA7-B613-4CB7-9B3B-4F0E24DC5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5ECCEE3-C4B2-483B-957A-4B5A26181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9500E1E-9AA9-491D-B0D3-B20B3165F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D0513C79-B107-4F85-BDCE-20F3B023E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473F415-2ED2-476D-99B3-2A7704C6B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7983EBB1-AE62-4421-984B-F4185BD5D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53492BFF-C885-4D31-8F70-03177ECEA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52693490-38B3-476B-B5E6-BC57311EB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4/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520168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25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4487</Words>
  <Application>Microsoft Office PowerPoint</Application>
  <PresentationFormat>On-screen Show (16:9)</PresentationFormat>
  <Paragraphs>1751</Paragraphs>
  <Slides>10</Slides>
  <Notes>4</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Aleaa SALAH</cp:lastModifiedBy>
  <cp:revision>39</cp:revision>
  <dcterms:created xsi:type="dcterms:W3CDTF">2024-07-05T15:31:56Z</dcterms:created>
  <dcterms:modified xsi:type="dcterms:W3CDTF">2025-08-14T11:3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